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47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0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1B0-4A72-8419-B5D68B671700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1B0-4A72-8419-B5D68B671700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1B0-4A72-8419-B5D68B671700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1B0-4A72-8419-B5D68B671700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41B0-4A72-8419-B5D68B671700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41B0-4A72-8419-B5D68B671700}"/>
              </c:ext>
            </c:extLst>
          </c:dPt>
          <c:dLbls>
            <c:delete val="1"/>
          </c:dLbls>
          <c:cat>
            <c:strRef>
              <c:f>Sheet1!$A$2:$A$7</c:f>
              <c:strCache>
                <c:ptCount val="6"/>
                <c:pt idx="0">
                  <c:v>Logo</c:v>
                </c:pt>
                <c:pt idx="1">
                  <c:v>Logo</c:v>
                </c:pt>
                <c:pt idx="2">
                  <c:v>Logo</c:v>
                </c:pt>
                <c:pt idx="3">
                  <c:v>Logo</c:v>
                </c:pt>
                <c:pt idx="4">
                  <c:v>Logo</c:v>
                </c:pt>
                <c:pt idx="5">
                  <c:v>Logo</c:v>
                </c:pt>
              </c:strCache>
            </c:strRef>
          </c:cat>
          <c:val>
            <c:numRef>
              <c:f>Sheet1!$B$2:$B$7</c:f>
              <c:numCache>
                <c:formatCode>0%</c:formatCode>
                <c:ptCount val="6"/>
                <c:pt idx="0">
                  <c:v>0.24</c:v>
                </c:pt>
                <c:pt idx="1">
                  <c:v>0.51</c:v>
                </c:pt>
                <c:pt idx="2">
                  <c:v>0.78</c:v>
                </c:pt>
                <c:pt idx="3">
                  <c:v>0.8</c:v>
                </c:pt>
                <c:pt idx="4">
                  <c:v>0.83</c:v>
                </c:pt>
                <c:pt idx="5">
                  <c:v>0.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41B0-4A72-8419-B5D68B671700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15"/>
        <c:overlap val="100"/>
        <c:axId val="744375864"/>
        <c:axId val="744376520"/>
      </c:barChart>
      <c:catAx>
        <c:axId val="7443758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600" b="0" i="0" u="none" strike="noStrike" kern="1200" baseline="0">
                <a:solidFill>
                  <a:schemeClr val="tx1"/>
                </a:solidFill>
                <a:latin typeface="+mn-lt"/>
                <a:ea typeface="Neue Haas Unica"/>
                <a:cs typeface="Neue Haas Unica"/>
              </a:defRPr>
            </a:pPr>
            <a:endParaRPr lang="en-US"/>
          </a:p>
        </c:txPr>
        <c:crossAx val="744376520"/>
        <c:crosses val="autoZero"/>
        <c:auto val="1"/>
        <c:lblAlgn val="ctr"/>
        <c:lblOffset val="100"/>
        <c:noMultiLvlLbl val="0"/>
      </c:catAx>
      <c:valAx>
        <c:axId val="744376520"/>
        <c:scaling>
          <c:orientation val="minMax"/>
        </c:scaling>
        <c:delete val="0"/>
        <c:axPos val="b"/>
        <c:numFmt formatCode="0%" sourceLinked="1"/>
        <c:majorTickMark val="out"/>
        <c:minorTickMark val="none"/>
        <c:tickLblPos val="nextTo"/>
        <c:spPr>
          <a:noFill/>
          <a:ln>
            <a:solidFill>
              <a:schemeClr val="accent6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600" b="0" i="0" u="none" strike="noStrike" kern="1200" baseline="0">
                <a:solidFill>
                  <a:schemeClr val="tx1"/>
                </a:solidFill>
                <a:latin typeface="+mn-lt"/>
                <a:ea typeface="Neue Haas Unica"/>
                <a:cs typeface="Neue Haas Unica"/>
              </a:defRPr>
            </a:pPr>
            <a:endParaRPr lang="en-US"/>
          </a:p>
        </c:txPr>
        <c:crossAx val="7443758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en-US" sz="1600" b="0" i="0" u="none" strike="noStrike" kern="1200" baseline="0">
          <a:solidFill>
            <a:schemeClr val="tx1"/>
          </a:solidFill>
          <a:latin typeface="+mn-lt"/>
          <a:ea typeface="Neue Haas Unica"/>
          <a:cs typeface="Neue Haas Unica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BC900F-78E7-7B8C-31E8-6365308253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11647BF7-CE11-B202-E9C7-5201ED0F8B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647BF7-CE11-B202-E9C7-5201ED0F8B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AC57E76-BA29-F462-17BC-C86DD5FFF9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Bar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C694D4A8-2554-A49A-BE21-C887356D8D75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3271A5A2-D29E-FCBD-6D34-96ECFE612DB6}"/>
              </a:ext>
            </a:extLst>
          </p:cNvPr>
          <p:cNvGraphicFramePr>
            <a:graphicFrameLocks/>
          </p:cNvGraphicFramePr>
          <p:nvPr/>
        </p:nvGraphicFramePr>
        <p:xfrm>
          <a:off x="419099" y="1033696"/>
          <a:ext cx="10667999" cy="46311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435784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07</TotalTime>
  <Words>2</Words>
  <Application>Microsoft Office PowerPoint</Application>
  <PresentationFormat>Widescreen</PresentationFormat>
  <Paragraphs>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Bar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600</cp:revision>
  <dcterms:created xsi:type="dcterms:W3CDTF">2021-03-31T02:49:57Z</dcterms:created>
  <dcterms:modified xsi:type="dcterms:W3CDTF">2025-10-15T08:52:26Z</dcterms:modified>
  <cp:category/>
</cp:coreProperties>
</file>